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403" r:id="rId2"/>
    <p:sldId id="405" r:id="rId3"/>
    <p:sldId id="390" r:id="rId4"/>
    <p:sldId id="391" r:id="rId5"/>
    <p:sldId id="394" r:id="rId6"/>
    <p:sldId id="397" r:id="rId7"/>
    <p:sldId id="398" r:id="rId8"/>
    <p:sldId id="393" r:id="rId9"/>
    <p:sldId id="396" r:id="rId10"/>
    <p:sldId id="257" r:id="rId11"/>
    <p:sldId id="402" r:id="rId12"/>
    <p:sldId id="404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699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-354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7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FA2CBB-C638-49AD-A4CB-50D79110D119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30AF60-FDB7-4617-8A8C-2D059A2D8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791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C17980A-65B7-4EC8-92D3-F98E0D7789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22B71B2A-D30A-4213-ABC2-D5B65EF141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AC72839-24AE-4948-AF46-33E2A934A7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5E65CBB-F1A2-487D-85F9-EA5511843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5E1FB28-4E44-4920-9EA1-DF853E6E1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133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D44F55-F456-4972-A476-D32ACA87E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8ED4E9C-C77E-4F8A-AD73-5DFEDEAC9E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AAD1076-81CF-4DD0-879C-7AA5C9685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809E522-0C5A-4029-9739-C07AFCC8F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22B30F6-CA26-422C-8879-8D90C5BB1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1874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D955421B-0A1C-4993-BD24-1DE3A65F91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4AD6FA22-63EF-4FA5-A657-739C9E7700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25E4E37-DAC3-44B4-A890-F754E0FDC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477BBCD-128A-4155-822D-E7F434CC2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0D4A9FB-E6D7-4884-90FF-B2F0174A5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186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239184" y="5952327"/>
            <a:ext cx="11712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11160000" y="6225003"/>
            <a:ext cx="483816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552453" y="1249200"/>
            <a:ext cx="11087100" cy="4755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552000" y="1015200"/>
            <a:ext cx="11088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552000" y="6278378"/>
            <a:ext cx="168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31177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407C714-AA7E-42E2-A027-89F54A1CB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E0A348F-AC9E-4D8F-9E48-236A9B08C0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7FE6B30-DD59-4157-A957-032822813A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9AE667E-DAB8-4752-A376-6189463ED0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28C7FB5-6B3B-46E2-835C-5357F7DBF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999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6C427B-F057-48AE-ADF0-C0F9080E9E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3A4B839-9652-4B98-B9C0-B7F862227C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9B649D7-326F-46D1-AF2B-B8BC9EE842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6036AD3-DE6D-4584-BD84-6924F1CEB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5566BED-DE45-40A0-A79A-D0F8DDBFD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38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32E2893-19DA-484E-B30D-F0DC03ECA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ED1B2E6-4B21-4BAA-898E-2F2739E7A0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D9EA1C6D-188A-4FA2-B768-4B6A7BEB9D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3EA45690-328D-4EFA-8EB0-331AF960F0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B10A63E-0C30-406E-B65D-87B29876A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A9FCC4D-BD92-4E1B-9C3D-A71B5F8F3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435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8C85E0-B031-4285-A4B5-0E220F84F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EB1B91E-8EC0-400A-9502-D409277E89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5107097-96B4-499C-B15C-D112EA27DE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0A92B82-E394-4D72-AFD5-E75EE20D43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7C53A33B-4219-479E-A73F-C7C387669B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720B1065-284D-422C-A1CC-C2B8FC03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75F1D734-5AFD-4235-AFA0-9DDA3BC53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D9E69459-54CF-4B18-B93A-0A2D6D6A2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84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49C2E0-A89E-4D14-B6FC-2729E5655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3DAA36C-A14F-43C0-9C96-6F1D9C7FF4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771B69B-E7A9-4287-80D4-4C54D37F5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305147B-D14C-49DE-BD5E-CCF71C15A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598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527AFAE3-287E-4A28-8A3F-B32A76611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3360B192-511B-4260-90F0-075473298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9522214-B967-4A27-8FD3-01FB3D5C4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9671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2A01A9-8BC7-47AD-82CA-3D9C4E5C0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3EB0DBC-56BE-4DEA-93DC-B8F65B8C33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9322789-5AFC-49AE-921A-9BA9E01D95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BD340D3-956D-4509-825D-424EBD9A2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6D75F2D-9095-4349-8418-195D2D186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9AF60FD-B9B7-43D1-8073-B5C680C52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827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9C3127-86A0-4025-A6CF-2952C8E91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F428BB8-217D-447D-BD7C-1BB43A1E92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ABB85D4-F64B-46D7-BF35-E53F9F1826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2B1D9F2-80AF-471B-AC9A-D1C7F0794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E5BE550-3006-4CCF-98E3-0DA9841FA9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5CDCF20-0273-4898-BB17-97BC1B3E7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757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1592E48-85C0-4E70-9AD3-A8EBCA925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70DA754-9D3C-4687-8B62-DE48000C0B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7A39C23-1CC7-46A9-A0FD-FF68E5D41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434E3A-1C14-4498-8540-8D9E73EA5310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247CDB8-13EE-48DF-A97C-4CD8794311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14F44B3-DF34-4C35-9963-77E765C49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686E7B-558E-42D9-831E-EDF47EA0B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729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Tim.McQuade@exel.com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hyperlink" Target="mailto:brian@industrialworkforceadvisors.com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B80999E-BBD8-48D3-8157-649E43EFA8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8267" y="774738"/>
            <a:ext cx="5267326" cy="136442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02F9245-09AF-4640-9493-E4B7BB693DB5}"/>
              </a:ext>
            </a:extLst>
          </p:cNvPr>
          <p:cNvSpPr txBox="1"/>
          <p:nvPr/>
        </p:nvSpPr>
        <p:spPr>
          <a:xfrm>
            <a:off x="876300" y="5174338"/>
            <a:ext cx="33362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im McQuade</a:t>
            </a:r>
          </a:p>
          <a:p>
            <a:r>
              <a:rPr lang="en-US" dirty="0"/>
              <a:t>Senior Director Human Resources</a:t>
            </a:r>
          </a:p>
          <a:p>
            <a:r>
              <a:rPr lang="en-US" dirty="0"/>
              <a:t>DHL Supply Chai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F0C9834-B891-4E7D-A980-E5254BE06B8C}"/>
              </a:ext>
            </a:extLst>
          </p:cNvPr>
          <p:cNvSpPr txBox="1"/>
          <p:nvPr/>
        </p:nvSpPr>
        <p:spPr>
          <a:xfrm>
            <a:off x="8515593" y="5110282"/>
            <a:ext cx="29429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rian Devine</a:t>
            </a:r>
          </a:p>
          <a:p>
            <a:r>
              <a:rPr lang="en-US" dirty="0"/>
              <a:t>Managing Partner</a:t>
            </a:r>
          </a:p>
          <a:p>
            <a:r>
              <a:rPr lang="en-US" dirty="0"/>
              <a:t>Industrial Workforce Advisor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F9456C37-E517-43EE-A878-8C9D39B7360A}"/>
              </a:ext>
            </a:extLst>
          </p:cNvPr>
          <p:cNvGrpSpPr/>
          <p:nvPr/>
        </p:nvGrpSpPr>
        <p:grpSpPr>
          <a:xfrm>
            <a:off x="3248267" y="2440125"/>
            <a:ext cx="6124333" cy="2644379"/>
            <a:chOff x="3248267" y="2440125"/>
            <a:chExt cx="6124333" cy="264437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0F5C8637-6619-4726-AE03-42BFA0DE8757}"/>
                </a:ext>
              </a:extLst>
            </p:cNvPr>
            <p:cNvSpPr/>
            <p:nvPr/>
          </p:nvSpPr>
          <p:spPr>
            <a:xfrm>
              <a:off x="3248267" y="2440125"/>
              <a:ext cx="5943600" cy="2188876"/>
            </a:xfrm>
            <a:prstGeom prst="rect">
              <a:avLst/>
            </a:prstGeom>
            <a:solidFill>
              <a:srgbClr val="33669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1D8EE089-DE22-4D8A-AF45-03D8FAB80D41}"/>
                </a:ext>
              </a:extLst>
            </p:cNvPr>
            <p:cNvSpPr txBox="1"/>
            <p:nvPr/>
          </p:nvSpPr>
          <p:spPr>
            <a:xfrm>
              <a:off x="3276600" y="2529959"/>
              <a:ext cx="6096000" cy="25545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The New Normal of SCM Talent Management and Labor Issues</a:t>
              </a:r>
            </a:p>
            <a:p>
              <a:endParaRPr lang="en-US" sz="40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59686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13825" y="306444"/>
            <a:ext cx="11327999" cy="658600"/>
          </a:xfrm>
        </p:spPr>
        <p:txBody>
          <a:bodyPr>
            <a:normAutofit fontScale="90000"/>
          </a:bodyPr>
          <a:lstStyle/>
          <a:p>
            <a:r>
              <a:rPr lang="en-US" dirty="0"/>
              <a:t>Talent Management Focus Areas</a:t>
            </a:r>
            <a:endParaRPr lang="en-US" b="1" dirty="0"/>
          </a:p>
        </p:txBody>
      </p:sp>
      <p:sp>
        <p:nvSpPr>
          <p:cNvPr id="2" name="TextBox 1"/>
          <p:cNvSpPr txBox="1"/>
          <p:nvPr/>
        </p:nvSpPr>
        <p:spPr>
          <a:xfrm>
            <a:off x="613824" y="1586204"/>
            <a:ext cx="11327999" cy="43294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l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Greater frequency of career/development conversations, especially with entry level/front line supervisory roles.</a:t>
            </a:r>
          </a:p>
          <a:p>
            <a:pPr marL="628650" lvl="1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ometimes reinforcing patience/understanding the right career moves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Relocation for roles is becoming less desirable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ncrease focus on succession planning and talent reviews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Rapid development of managerial and operational skills.</a:t>
            </a:r>
          </a:p>
          <a:p>
            <a:pPr marL="628650" lvl="1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Roles are becoming available frequently – more stretch/growth assignments.</a:t>
            </a:r>
          </a:p>
          <a:p>
            <a:pPr marL="628650" lvl="1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High competition for talent with supply chain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Trust but verify organizational tools/process are being effectively utilized and contain quality content/feedback.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en-US" sz="16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en-US" sz="1600" dirty="0"/>
          </a:p>
          <a:p>
            <a:pPr marL="628650" lvl="1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 algn="l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8F5918C-DD15-46D2-8B18-29E8878E95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350" y="5915608"/>
            <a:ext cx="11925300" cy="78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6645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67AA18A-F68F-4A84-9C8C-49CF95033E11}"/>
              </a:ext>
            </a:extLst>
          </p:cNvPr>
          <p:cNvSpPr/>
          <p:nvPr/>
        </p:nvSpPr>
        <p:spPr>
          <a:xfrm>
            <a:off x="0" y="6339839"/>
            <a:ext cx="12192000" cy="50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dustrial </a:t>
            </a:r>
            <a:r>
              <a:rPr lang="en-US" sz="2000" b="1" dirty="0">
                <a:solidFill>
                  <a:schemeClr val="accent4"/>
                </a:solidFill>
              </a:rPr>
              <a:t>Workforce</a:t>
            </a:r>
            <a:r>
              <a:rPr lang="en-US" sz="2000" b="1" dirty="0"/>
              <a:t> Adviso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140243A-92A7-462B-9814-ABD07DE3C67A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4A14DA-9A93-4E2D-9735-D5951CA2EF3C}"/>
              </a:ext>
            </a:extLst>
          </p:cNvPr>
          <p:cNvSpPr txBox="1"/>
          <p:nvPr/>
        </p:nvSpPr>
        <p:spPr>
          <a:xfrm>
            <a:off x="2522086" y="151161"/>
            <a:ext cx="73027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commendations For Employe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6844CFF-0FC7-4DDB-A3A1-41DF7059ADB1}"/>
              </a:ext>
            </a:extLst>
          </p:cNvPr>
          <p:cNvSpPr/>
          <p:nvPr/>
        </p:nvSpPr>
        <p:spPr>
          <a:xfrm>
            <a:off x="1753870" y="1343025"/>
            <a:ext cx="7256780" cy="4210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Embrace the facts: Workforce has changed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Employees are driving marke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Pay rates must be competitiv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Provide some flexibility in schedule / 4 hour shift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Eliminate mandatory overtim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Review attendance polici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Improve on-boarding experience for new employe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Treat workers with empathy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597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B80999E-BBD8-48D3-8157-649E43EFA8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8267" y="327063"/>
            <a:ext cx="5267326" cy="136442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02F9245-09AF-4640-9493-E4B7BB693DB5}"/>
              </a:ext>
            </a:extLst>
          </p:cNvPr>
          <p:cNvSpPr txBox="1"/>
          <p:nvPr/>
        </p:nvSpPr>
        <p:spPr>
          <a:xfrm>
            <a:off x="783896" y="5355313"/>
            <a:ext cx="2547492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im McQuade</a:t>
            </a:r>
          </a:p>
          <a:p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hlinkClick r:id="rId3"/>
              </a:rPr>
              <a:t>tim.mcquade@dhl.com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H: 717.901.1188</a:t>
            </a:r>
            <a:endParaRPr lang="en-US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F0C9834-B891-4E7D-A980-E5254BE06B8C}"/>
              </a:ext>
            </a:extLst>
          </p:cNvPr>
          <p:cNvSpPr txBox="1"/>
          <p:nvPr/>
        </p:nvSpPr>
        <p:spPr>
          <a:xfrm>
            <a:off x="7565405" y="5350670"/>
            <a:ext cx="39312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rian Devine</a:t>
            </a:r>
          </a:p>
          <a:p>
            <a:r>
              <a:rPr lang="en-US" dirty="0">
                <a:hlinkClick r:id="rId4"/>
              </a:rPr>
              <a:t>brian@industrialworkforceadvisors.com</a:t>
            </a:r>
            <a:endParaRPr lang="en-US" dirty="0"/>
          </a:p>
          <a:p>
            <a:r>
              <a:rPr lang="en-US" dirty="0"/>
              <a:t>PH: 803-429-885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F9456C37-E517-43EE-A878-8C9D39B7360A}"/>
              </a:ext>
            </a:extLst>
          </p:cNvPr>
          <p:cNvGrpSpPr/>
          <p:nvPr/>
        </p:nvGrpSpPr>
        <p:grpSpPr>
          <a:xfrm>
            <a:off x="3462337" y="1950930"/>
            <a:ext cx="5267326" cy="2535345"/>
            <a:chOff x="3172067" y="2440125"/>
            <a:chExt cx="6096000" cy="2645894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0F5C8637-6619-4726-AE03-42BFA0DE8757}"/>
                </a:ext>
              </a:extLst>
            </p:cNvPr>
            <p:cNvSpPr/>
            <p:nvPr/>
          </p:nvSpPr>
          <p:spPr>
            <a:xfrm>
              <a:off x="3248267" y="2440125"/>
              <a:ext cx="5943600" cy="2188876"/>
            </a:xfrm>
            <a:prstGeom prst="rect">
              <a:avLst/>
            </a:prstGeom>
            <a:solidFill>
              <a:srgbClr val="33669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1D8EE089-DE22-4D8A-AF45-03D8FAB80D41}"/>
                </a:ext>
              </a:extLst>
            </p:cNvPr>
            <p:cNvSpPr txBox="1"/>
            <p:nvPr/>
          </p:nvSpPr>
          <p:spPr>
            <a:xfrm>
              <a:off x="3172067" y="2531474"/>
              <a:ext cx="6096000" cy="25545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Questions</a:t>
              </a:r>
            </a:p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And</a:t>
              </a:r>
            </a:p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Answers</a:t>
              </a:r>
            </a:p>
            <a:p>
              <a:endParaRPr lang="en-US" sz="4000" b="1" dirty="0"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A8925158-03D2-430C-8267-EB42A1CA1A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542" y="4802533"/>
            <a:ext cx="2228850" cy="54813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E510631-D8CD-44EE-8724-5AA3C6E61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68067" y="4644449"/>
            <a:ext cx="1990725" cy="995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235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B80999E-BBD8-48D3-8157-649E43EFA8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9823" y="5738515"/>
            <a:ext cx="3462906" cy="89701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C775D333-C319-40F4-977E-20DAB35D467C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39F5406-ED52-4E65-B05D-3DD9C44989C1}"/>
              </a:ext>
            </a:extLst>
          </p:cNvPr>
          <p:cNvSpPr txBox="1"/>
          <p:nvPr/>
        </p:nvSpPr>
        <p:spPr>
          <a:xfrm>
            <a:off x="5019040" y="68909"/>
            <a:ext cx="17965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gend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8F2FF1F5-9822-49AC-BCA0-C9C0E254FAC2}"/>
              </a:ext>
            </a:extLst>
          </p:cNvPr>
          <p:cNvSpPr txBox="1"/>
          <p:nvPr/>
        </p:nvSpPr>
        <p:spPr>
          <a:xfrm>
            <a:off x="1304925" y="1082208"/>
            <a:ext cx="5739841" cy="51961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Review national labor sta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Changes in workforce demographic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Demand for supply chain labo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Hourly pay rate track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Talent manage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Exempt employe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Recommenda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75639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AF80D76-CACA-4D4E-9CDA-A278DFA454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" y="1103100"/>
            <a:ext cx="7748367" cy="509451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67AA18A-F68F-4A84-9C8C-49CF95033E11}"/>
              </a:ext>
            </a:extLst>
          </p:cNvPr>
          <p:cNvSpPr/>
          <p:nvPr/>
        </p:nvSpPr>
        <p:spPr>
          <a:xfrm>
            <a:off x="0" y="6339839"/>
            <a:ext cx="12192000" cy="50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dustrial </a:t>
            </a:r>
            <a:r>
              <a:rPr lang="en-US" sz="2000" b="1" dirty="0">
                <a:solidFill>
                  <a:schemeClr val="accent4"/>
                </a:solidFill>
              </a:rPr>
              <a:t>Workforce</a:t>
            </a:r>
            <a:r>
              <a:rPr lang="en-US" sz="2000" b="1" dirty="0"/>
              <a:t> Adviso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140243A-92A7-462B-9814-ABD07DE3C67A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4A14DA-9A93-4E2D-9735-D5951CA2EF3C}"/>
              </a:ext>
            </a:extLst>
          </p:cNvPr>
          <p:cNvSpPr txBox="1"/>
          <p:nvPr/>
        </p:nvSpPr>
        <p:spPr>
          <a:xfrm>
            <a:off x="3732954" y="86373"/>
            <a:ext cx="43027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ational Stats - B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ADFB702-3FA9-4395-ACE7-E2D948AC5CC5}"/>
              </a:ext>
            </a:extLst>
          </p:cNvPr>
          <p:cNvSpPr txBox="1"/>
          <p:nvPr/>
        </p:nvSpPr>
        <p:spPr>
          <a:xfrm>
            <a:off x="6227302" y="2797008"/>
            <a:ext cx="7595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Feb 2020</a:t>
            </a:r>
          </a:p>
          <a:p>
            <a:pPr algn="ctr"/>
            <a:r>
              <a:rPr lang="en-US" sz="1200" dirty="0"/>
              <a:t>152.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D249A8F-487E-43BF-8B52-45F582FFF2F6}"/>
              </a:ext>
            </a:extLst>
          </p:cNvPr>
          <p:cNvSpPr txBox="1"/>
          <p:nvPr/>
        </p:nvSpPr>
        <p:spPr>
          <a:xfrm>
            <a:off x="3105150" y="5606699"/>
            <a:ext cx="7595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Feb 2010</a:t>
            </a:r>
          </a:p>
          <a:p>
            <a:pPr algn="ctr"/>
            <a:r>
              <a:rPr lang="en-US" sz="1200" dirty="0"/>
              <a:t>129.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EF9555D-8A5B-4228-BDD8-35BF29C23BDF}"/>
              </a:ext>
            </a:extLst>
          </p:cNvPr>
          <p:cNvSpPr txBox="1"/>
          <p:nvPr/>
        </p:nvSpPr>
        <p:spPr>
          <a:xfrm>
            <a:off x="1889862" y="4280515"/>
            <a:ext cx="7713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Dec 2007</a:t>
            </a:r>
          </a:p>
          <a:p>
            <a:pPr algn="ctr"/>
            <a:r>
              <a:rPr lang="en-US" sz="1200" dirty="0"/>
              <a:t>138.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1AD419FA-8116-4D1A-97A5-96B708ADC98A}"/>
              </a:ext>
            </a:extLst>
          </p:cNvPr>
          <p:cNvSpPr txBox="1"/>
          <p:nvPr/>
        </p:nvSpPr>
        <p:spPr>
          <a:xfrm>
            <a:off x="6977901" y="5536576"/>
            <a:ext cx="7569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pr 2020</a:t>
            </a:r>
          </a:p>
          <a:p>
            <a:pPr algn="ctr"/>
            <a:r>
              <a:rPr lang="en-US" sz="1200" dirty="0"/>
              <a:t>130.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7AF96D9-95A6-46C4-BC1F-3F7FBA499A31}"/>
              </a:ext>
            </a:extLst>
          </p:cNvPr>
          <p:cNvSpPr txBox="1"/>
          <p:nvPr/>
        </p:nvSpPr>
        <p:spPr>
          <a:xfrm>
            <a:off x="7447440" y="3080669"/>
            <a:ext cx="7595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Feb 2022</a:t>
            </a:r>
          </a:p>
          <a:p>
            <a:pPr algn="ctr"/>
            <a:r>
              <a:rPr lang="en-US" sz="1200" dirty="0"/>
              <a:t>150.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711038B5-EB66-4132-B691-792571918BE6}"/>
              </a:ext>
            </a:extLst>
          </p:cNvPr>
          <p:cNvSpPr/>
          <p:nvPr/>
        </p:nvSpPr>
        <p:spPr>
          <a:xfrm>
            <a:off x="8408476" y="1337993"/>
            <a:ext cx="3212024" cy="4717395"/>
          </a:xfrm>
          <a:prstGeom prst="rect">
            <a:avLst/>
          </a:prstGeom>
          <a:noFill/>
          <a:ln w="31750">
            <a:solidFill>
              <a:srgbClr val="0066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National Unemployment R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Feb 2022 = 3.8% </a:t>
            </a:r>
          </a:p>
          <a:p>
            <a:pPr lvl="2"/>
            <a:r>
              <a:rPr lang="en-US" sz="1600" b="1" dirty="0">
                <a:solidFill>
                  <a:schemeClr val="tx1"/>
                </a:solidFill>
              </a:rPr>
              <a:t>150.4 MM workers</a:t>
            </a:r>
          </a:p>
          <a:p>
            <a:pPr lvl="1"/>
            <a:r>
              <a:rPr lang="en-US" sz="1600" b="1" dirty="0">
                <a:solidFill>
                  <a:schemeClr val="tx1"/>
                </a:solidFill>
              </a:rPr>
              <a:t>Household survey &amp; Establishment survey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           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2.1 million fewer workers vs. Feb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11.3 million job openings 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            (BLS - Last day of Jan 202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6.3 million people unemployed (Feb 2022)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xmlns="" id="{D2ABEDDA-3552-46BC-8B8A-C5A48996F384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3105150" y="4671482"/>
            <a:ext cx="1505377" cy="935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A88EF877-0750-4993-BCD3-E5D77D586669}"/>
              </a:ext>
            </a:extLst>
          </p:cNvPr>
          <p:cNvCxnSpPr>
            <a:cxnSpLocks/>
          </p:cNvCxnSpPr>
          <p:nvPr/>
        </p:nvCxnSpPr>
        <p:spPr>
          <a:xfrm flipV="1">
            <a:off x="5249155" y="3258673"/>
            <a:ext cx="1905838" cy="1032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FC5F3BB-660C-4725-9B50-84D4FBCC1352}"/>
              </a:ext>
            </a:extLst>
          </p:cNvPr>
          <p:cNvSpPr txBox="1"/>
          <p:nvPr/>
        </p:nvSpPr>
        <p:spPr>
          <a:xfrm rot="19747839">
            <a:off x="4553393" y="4310659"/>
            <a:ext cx="8066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+22.8M</a:t>
            </a:r>
          </a:p>
        </p:txBody>
      </p:sp>
    </p:spTree>
    <p:extLst>
      <p:ext uri="{BB962C8B-B14F-4D97-AF65-F5344CB8AC3E}">
        <p14:creationId xmlns:p14="http://schemas.microsoft.com/office/powerpoint/2010/main" val="3497513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0FBEA62-9A01-4175-AE80-F708CE5B5B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583" y="1055901"/>
            <a:ext cx="8497194" cy="505914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67AA18A-F68F-4A84-9C8C-49CF95033E11}"/>
              </a:ext>
            </a:extLst>
          </p:cNvPr>
          <p:cNvSpPr/>
          <p:nvPr/>
        </p:nvSpPr>
        <p:spPr>
          <a:xfrm>
            <a:off x="0" y="6339839"/>
            <a:ext cx="12192000" cy="50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dustrial </a:t>
            </a:r>
            <a:r>
              <a:rPr lang="en-US" sz="2000" b="1" dirty="0">
                <a:solidFill>
                  <a:schemeClr val="accent4"/>
                </a:solidFill>
              </a:rPr>
              <a:t>Workforce</a:t>
            </a:r>
            <a:r>
              <a:rPr lang="en-US" sz="2000" b="1" dirty="0"/>
              <a:t> Adviso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140243A-92A7-462B-9814-ABD07DE3C67A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4A14DA-9A93-4E2D-9735-D5951CA2EF3C}"/>
              </a:ext>
            </a:extLst>
          </p:cNvPr>
          <p:cNvSpPr txBox="1"/>
          <p:nvPr/>
        </p:nvSpPr>
        <p:spPr>
          <a:xfrm>
            <a:off x="2103120" y="95216"/>
            <a:ext cx="878137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ational Stats – Labor Participation R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ADF4962-D30C-4918-8C4F-2761108F4710}"/>
              </a:ext>
            </a:extLst>
          </p:cNvPr>
          <p:cNvSpPr/>
          <p:nvPr/>
        </p:nvSpPr>
        <p:spPr>
          <a:xfrm>
            <a:off x="9019653" y="1484178"/>
            <a:ext cx="2780665" cy="4021376"/>
          </a:xfrm>
          <a:prstGeom prst="rect">
            <a:avLst/>
          </a:prstGeom>
          <a:noFill/>
          <a:ln w="317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Population 333 million / 262 million over 16 Y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Feb 2022 -  99.6 million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        Not in the labor for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54 million over 65 Y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45 million people over 16 not 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Gig-type workers increased by 12.9 million workers (Statista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xmlns="" id="{D05B1368-ACBB-4893-837D-7EB41F138A78}"/>
              </a:ext>
            </a:extLst>
          </p:cNvPr>
          <p:cNvSpPr/>
          <p:nvPr/>
        </p:nvSpPr>
        <p:spPr>
          <a:xfrm>
            <a:off x="7866944" y="4141723"/>
            <a:ext cx="700514" cy="509895"/>
          </a:xfrm>
          <a:prstGeom prst="wedgeRoundRectCallout">
            <a:avLst>
              <a:gd name="adj1" fmla="val 56593"/>
              <a:gd name="adj2" fmla="val 8803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Feb ‘22</a:t>
            </a:r>
          </a:p>
          <a:p>
            <a:pPr algn="ctr"/>
            <a:r>
              <a:rPr lang="en-US" sz="1100" b="1" dirty="0"/>
              <a:t>62.3%</a:t>
            </a:r>
          </a:p>
        </p:txBody>
      </p:sp>
    </p:spTree>
    <p:extLst>
      <p:ext uri="{BB962C8B-B14F-4D97-AF65-F5344CB8AC3E}">
        <p14:creationId xmlns:p14="http://schemas.microsoft.com/office/powerpoint/2010/main" val="3603861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67AA18A-F68F-4A84-9C8C-49CF95033E11}"/>
              </a:ext>
            </a:extLst>
          </p:cNvPr>
          <p:cNvSpPr/>
          <p:nvPr/>
        </p:nvSpPr>
        <p:spPr>
          <a:xfrm>
            <a:off x="0" y="6339839"/>
            <a:ext cx="12192000" cy="50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dustrial </a:t>
            </a:r>
            <a:r>
              <a:rPr lang="en-US" sz="2000" b="1" dirty="0">
                <a:solidFill>
                  <a:schemeClr val="accent4"/>
                </a:solidFill>
              </a:rPr>
              <a:t>Workforce</a:t>
            </a:r>
            <a:r>
              <a:rPr lang="en-US" sz="2000" b="1" dirty="0"/>
              <a:t> Adviso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140243A-92A7-462B-9814-ABD07DE3C67A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4A14DA-9A93-4E2D-9735-D5951CA2EF3C}"/>
              </a:ext>
            </a:extLst>
          </p:cNvPr>
          <p:cNvSpPr txBox="1"/>
          <p:nvPr/>
        </p:nvSpPr>
        <p:spPr>
          <a:xfrm>
            <a:off x="3971290" y="135584"/>
            <a:ext cx="316939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ational Sta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711038B5-EB66-4132-B691-792571918BE6}"/>
              </a:ext>
            </a:extLst>
          </p:cNvPr>
          <p:cNvSpPr/>
          <p:nvPr/>
        </p:nvSpPr>
        <p:spPr>
          <a:xfrm>
            <a:off x="8962719" y="1887674"/>
            <a:ext cx="2741601" cy="3493993"/>
          </a:xfrm>
          <a:prstGeom prst="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600" b="1" dirty="0">
              <a:solidFill>
                <a:schemeClr val="tx1"/>
              </a:solidFill>
            </a:endParaRPr>
          </a:p>
          <a:p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12.9 million more “Independent Workers” in 2021 v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GIG Work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Pew Research Center = 16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Reuters = 55 M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Forbes = 55M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</a:endParaRPr>
          </a:p>
          <a:p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7117640A-FB2A-44D2-B3B6-6E4CDC3F8B3D}"/>
              </a:ext>
            </a:extLst>
          </p:cNvPr>
          <p:cNvGrpSpPr/>
          <p:nvPr/>
        </p:nvGrpSpPr>
        <p:grpSpPr>
          <a:xfrm>
            <a:off x="576160" y="1101563"/>
            <a:ext cx="7529770" cy="5066215"/>
            <a:chOff x="750630" y="1194915"/>
            <a:chExt cx="7529770" cy="506621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8F6B3FFE-D6B9-44F3-BFBB-D64F1B6E3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50630" y="1194915"/>
              <a:ext cx="7395089" cy="506621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BD634E81-FFA3-4373-986F-87DEF6BCD555}"/>
                </a:ext>
              </a:extLst>
            </p:cNvPr>
            <p:cNvSpPr/>
            <p:nvPr/>
          </p:nvSpPr>
          <p:spPr>
            <a:xfrm>
              <a:off x="750630" y="1194915"/>
              <a:ext cx="7529770" cy="5066214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2527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67AA18A-F68F-4A84-9C8C-49CF95033E11}"/>
              </a:ext>
            </a:extLst>
          </p:cNvPr>
          <p:cNvSpPr/>
          <p:nvPr/>
        </p:nvSpPr>
        <p:spPr>
          <a:xfrm>
            <a:off x="0" y="6339839"/>
            <a:ext cx="12192000" cy="50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dustrial </a:t>
            </a:r>
            <a:r>
              <a:rPr lang="en-US" sz="2000" b="1" dirty="0">
                <a:solidFill>
                  <a:schemeClr val="accent4"/>
                </a:solidFill>
              </a:rPr>
              <a:t>Workforce</a:t>
            </a:r>
            <a:r>
              <a:rPr lang="en-US" sz="2000" b="1" dirty="0"/>
              <a:t> Adviso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140243A-92A7-462B-9814-ABD07DE3C67A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4A14DA-9A93-4E2D-9735-D5951CA2EF3C}"/>
              </a:ext>
            </a:extLst>
          </p:cNvPr>
          <p:cNvSpPr txBox="1"/>
          <p:nvPr/>
        </p:nvSpPr>
        <p:spPr>
          <a:xfrm>
            <a:off x="3311359" y="113061"/>
            <a:ext cx="55692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orkforce Demographic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D96326F-7562-468E-9370-4A3E4A94E7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734" y="1099697"/>
            <a:ext cx="7321931" cy="48528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A15292D-A31A-4F38-821E-677236447DAB}"/>
              </a:ext>
            </a:extLst>
          </p:cNvPr>
          <p:cNvSpPr/>
          <p:nvPr/>
        </p:nvSpPr>
        <p:spPr>
          <a:xfrm>
            <a:off x="9179455" y="1530881"/>
            <a:ext cx="2291171" cy="4315665"/>
          </a:xfrm>
          <a:prstGeom prst="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Baby boomers are retiring at a record p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illennials are the largest generation in the workfor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hange in the social contract between employer and employee in last 40 to 5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illennials have a different perspective about work-life bal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71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67AA18A-F68F-4A84-9C8C-49CF95033E11}"/>
              </a:ext>
            </a:extLst>
          </p:cNvPr>
          <p:cNvSpPr/>
          <p:nvPr/>
        </p:nvSpPr>
        <p:spPr>
          <a:xfrm>
            <a:off x="0" y="6339839"/>
            <a:ext cx="12192000" cy="50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dustrial </a:t>
            </a:r>
            <a:r>
              <a:rPr lang="en-US" sz="2000" b="1" dirty="0">
                <a:solidFill>
                  <a:schemeClr val="accent4"/>
                </a:solidFill>
              </a:rPr>
              <a:t>Workforce</a:t>
            </a:r>
            <a:r>
              <a:rPr lang="en-US" sz="2000" b="1" dirty="0"/>
              <a:t> Adviso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140243A-92A7-462B-9814-ABD07DE3C67A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4A14DA-9A93-4E2D-9735-D5951CA2EF3C}"/>
              </a:ext>
            </a:extLst>
          </p:cNvPr>
          <p:cNvSpPr txBox="1"/>
          <p:nvPr/>
        </p:nvSpPr>
        <p:spPr>
          <a:xfrm>
            <a:off x="3311359" y="113061"/>
            <a:ext cx="55692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orkforce Demographic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B2CAFB80-67D8-44F4-9DD6-5EA5555A34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035" y="1281410"/>
            <a:ext cx="7675529" cy="470652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xmlns="" id="{44118A80-D92A-4812-8433-E5E9731AC880}"/>
              </a:ext>
            </a:extLst>
          </p:cNvPr>
          <p:cNvSpPr/>
          <p:nvPr/>
        </p:nvSpPr>
        <p:spPr>
          <a:xfrm>
            <a:off x="3784854" y="4592955"/>
            <a:ext cx="3597747" cy="49915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769E3C2-F2DD-4086-A9D0-750F1D50B1A1}"/>
              </a:ext>
            </a:extLst>
          </p:cNvPr>
          <p:cNvSpPr/>
          <p:nvPr/>
        </p:nvSpPr>
        <p:spPr>
          <a:xfrm>
            <a:off x="4052351" y="2112545"/>
            <a:ext cx="3148742" cy="240631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19113E7F-668B-496A-B2F5-21247C0A8979}"/>
              </a:ext>
            </a:extLst>
          </p:cNvPr>
          <p:cNvSpPr/>
          <p:nvPr/>
        </p:nvSpPr>
        <p:spPr>
          <a:xfrm>
            <a:off x="3851529" y="1983106"/>
            <a:ext cx="3597747" cy="48387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1F69961A-3DCA-45D0-8D94-F98896147CE4}"/>
              </a:ext>
            </a:extLst>
          </p:cNvPr>
          <p:cNvSpPr/>
          <p:nvPr/>
        </p:nvSpPr>
        <p:spPr>
          <a:xfrm>
            <a:off x="755904" y="1990925"/>
            <a:ext cx="3597747" cy="48387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E40CFA56-F97D-41B0-8427-3A978C942B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6308" y="1461273"/>
            <a:ext cx="3576615" cy="18103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AD7991C-DCA4-4CF3-99A5-FD76DF617D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5624" y="3803429"/>
            <a:ext cx="3467300" cy="1822862"/>
          </a:xfrm>
          <a:prstGeom prst="rect">
            <a:avLst/>
          </a:prstGeom>
        </p:spPr>
      </p:pic>
      <p:sp>
        <p:nvSpPr>
          <p:cNvPr id="13" name="Arrow: Down 12">
            <a:extLst>
              <a:ext uri="{FF2B5EF4-FFF2-40B4-BE49-F238E27FC236}">
                <a16:creationId xmlns:a16="http://schemas.microsoft.com/office/drawing/2014/main" xmlns="" id="{30105FA1-2B20-44D6-94DA-91642072650A}"/>
              </a:ext>
            </a:extLst>
          </p:cNvPr>
          <p:cNvSpPr/>
          <p:nvPr/>
        </p:nvSpPr>
        <p:spPr>
          <a:xfrm>
            <a:off x="7534109" y="2112544"/>
            <a:ext cx="390691" cy="3464045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432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6" grpId="0" animBg="1"/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67AA18A-F68F-4A84-9C8C-49CF95033E11}"/>
              </a:ext>
            </a:extLst>
          </p:cNvPr>
          <p:cNvSpPr/>
          <p:nvPr/>
        </p:nvSpPr>
        <p:spPr>
          <a:xfrm>
            <a:off x="0" y="6339839"/>
            <a:ext cx="12192000" cy="50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dustrial </a:t>
            </a:r>
            <a:r>
              <a:rPr lang="en-US" sz="2000" b="1" dirty="0">
                <a:solidFill>
                  <a:schemeClr val="accent4"/>
                </a:solidFill>
              </a:rPr>
              <a:t>Workforce</a:t>
            </a:r>
            <a:r>
              <a:rPr lang="en-US" sz="2000" b="1" dirty="0"/>
              <a:t> Adviso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140243A-92A7-462B-9814-ABD07DE3C67A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4A14DA-9A93-4E2D-9735-D5951CA2EF3C}"/>
              </a:ext>
            </a:extLst>
          </p:cNvPr>
          <p:cNvSpPr txBox="1"/>
          <p:nvPr/>
        </p:nvSpPr>
        <p:spPr>
          <a:xfrm>
            <a:off x="1875790" y="82691"/>
            <a:ext cx="79113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ob Postings – Warehouse - Nation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9D06544E-2A92-407C-BDD5-2A31CDA6E948}"/>
              </a:ext>
            </a:extLst>
          </p:cNvPr>
          <p:cNvSpPr/>
          <p:nvPr/>
        </p:nvSpPr>
        <p:spPr>
          <a:xfrm>
            <a:off x="8877499" y="1276923"/>
            <a:ext cx="2809875" cy="4717395"/>
          </a:xfrm>
          <a:prstGeom prst="rect">
            <a:avLst/>
          </a:prstGeom>
          <a:noFill/>
          <a:ln w="31750">
            <a:solidFill>
              <a:srgbClr val="0066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 2019 – typical year ~200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Q4 represents the typical retail peak sea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2020 saw record growth in warehouse job postings due to shift in consumer trends to e-comme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2021 saw continued increase in demand for warehouse lab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2022 is starting off at 129% increase in job postings over Jan 2020 (pre-pandemic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731CB63-EC0A-4335-B123-9BD0097374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625" y="1394339"/>
            <a:ext cx="7473889" cy="453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4352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67AA18A-F68F-4A84-9C8C-49CF95033E11}"/>
              </a:ext>
            </a:extLst>
          </p:cNvPr>
          <p:cNvSpPr/>
          <p:nvPr/>
        </p:nvSpPr>
        <p:spPr>
          <a:xfrm>
            <a:off x="0" y="6339839"/>
            <a:ext cx="12192000" cy="50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dustrial </a:t>
            </a:r>
            <a:r>
              <a:rPr lang="en-US" sz="2000" b="1" dirty="0">
                <a:solidFill>
                  <a:schemeClr val="accent4"/>
                </a:solidFill>
              </a:rPr>
              <a:t>Workforce</a:t>
            </a:r>
            <a:r>
              <a:rPr lang="en-US" sz="2000" b="1" dirty="0"/>
              <a:t> Adviso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140243A-92A7-462B-9814-ABD07DE3C67A}"/>
              </a:ext>
            </a:extLst>
          </p:cNvPr>
          <p:cNvCxnSpPr/>
          <p:nvPr/>
        </p:nvCxnSpPr>
        <p:spPr>
          <a:xfrm>
            <a:off x="1753870" y="929501"/>
            <a:ext cx="88392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04A14DA-9A93-4E2D-9735-D5951CA2EF3C}"/>
              </a:ext>
            </a:extLst>
          </p:cNvPr>
          <p:cNvSpPr txBox="1"/>
          <p:nvPr/>
        </p:nvSpPr>
        <p:spPr>
          <a:xfrm>
            <a:off x="3514090" y="141636"/>
            <a:ext cx="383015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y Rates vs. CPI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2D61137-F1AE-4B59-B6E5-7415B4E57F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5433" y="4898924"/>
            <a:ext cx="1138237" cy="11382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5F9FB87-93C4-4B06-9105-DCF10D4274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1563" y="4897413"/>
            <a:ext cx="1265555" cy="126555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E9B40D1-272F-4BE5-B896-BAF4F5636A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013" y="1030919"/>
            <a:ext cx="7578362" cy="504754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4F44586-9B47-41F5-826A-8398CB2CAF4D}"/>
              </a:ext>
            </a:extLst>
          </p:cNvPr>
          <p:cNvSpPr/>
          <p:nvPr/>
        </p:nvSpPr>
        <p:spPr>
          <a:xfrm>
            <a:off x="9105900" y="1495425"/>
            <a:ext cx="2330087" cy="247650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ogistics jobs peaked at $19.31 per hour in Dec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ogistics job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eb 2022 = $18.5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anufacturing job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eb 2022 = $17.23</a:t>
            </a:r>
          </a:p>
        </p:txBody>
      </p:sp>
    </p:spTree>
    <p:extLst>
      <p:ext uri="{BB962C8B-B14F-4D97-AF65-F5344CB8AC3E}">
        <p14:creationId xmlns:p14="http://schemas.microsoft.com/office/powerpoint/2010/main" val="2236359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63</TotalTime>
  <Words>500</Words>
  <Application>Microsoft Office PowerPoint</Application>
  <PresentationFormat>Custom</PresentationFormat>
  <Paragraphs>139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alent Management Focus Area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an Devine</dc:creator>
  <cp:lastModifiedBy>Dave</cp:lastModifiedBy>
  <cp:revision>74</cp:revision>
  <dcterms:created xsi:type="dcterms:W3CDTF">2022-01-06T14:27:22Z</dcterms:created>
  <dcterms:modified xsi:type="dcterms:W3CDTF">2022-04-13T14:23:21Z</dcterms:modified>
</cp:coreProperties>
</file>